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1.xml" ContentType="application/vnd.openxmlformats-officedocument.presentationml.tags+xml"/>
  <Override PartName="/ppt/charts/chart7.xml" ContentType="application/vnd.openxmlformats-officedocument.drawingml.chart+xml"/>
  <Override PartName="/ppt/tags/tag32.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34.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35.xml" ContentType="application/vnd.openxmlformats-officedocument.presentationml.tags+xml"/>
  <Override PartName="/ppt/charts/chart18.xml" ContentType="application/vnd.openxmlformats-officedocument.drawingml.chart+xml"/>
  <Override PartName="/ppt/tags/tag36.xml" ContentType="application/vnd.openxmlformats-officedocument.presentationml.tags+xml"/>
  <Override PartName="/ppt/charts/chart19.xml" ContentType="application/vnd.openxmlformats-officedocument.drawingml.chart+xml"/>
  <Override PartName="/ppt/tags/tag37.xml" ContentType="application/vnd.openxmlformats-officedocument.presentationml.tags+xml"/>
  <Override PartName="/ppt/charts/chart20.xml" ContentType="application/vnd.openxmlformats-officedocument.drawingml.chart+xml"/>
  <Override PartName="/ppt/tags/tag38.xml" ContentType="application/vnd.openxmlformats-officedocument.presentationml.tags+xml"/>
  <Override PartName="/ppt/charts/chart21.xml" ContentType="application/vnd.openxmlformats-officedocument.drawingml.chart+xml"/>
  <Override PartName="/ppt/tags/tag39.xml" ContentType="application/vnd.openxmlformats-officedocument.presentationml.tags+xml"/>
  <Override PartName="/ppt/charts/chart22.xml" ContentType="application/vnd.openxmlformats-officedocument.drawingml.chart+xml"/>
  <Override PartName="/ppt/tags/tag40.xml" ContentType="application/vnd.openxmlformats-officedocument.presentationml.tags+xml"/>
  <Override PartName="/ppt/charts/chart23.xml" ContentType="application/vnd.openxmlformats-officedocument.drawingml.chart+xml"/>
  <Override PartName="/ppt/tags/tag41.xml" ContentType="application/vnd.openxmlformats-officedocument.presentationml.tags+xml"/>
  <Override PartName="/ppt/charts/chart24.xml" ContentType="application/vnd.openxmlformats-officedocument.drawingml.chart+xml"/>
  <Override PartName="/ppt/tags/tag42.xml" ContentType="application/vnd.openxmlformats-officedocument.presentationml.tags+xml"/>
  <Override PartName="/ppt/charts/chart25.xml" ContentType="application/vnd.openxmlformats-officedocument.drawingml.chart+xml"/>
  <Override PartName="/ppt/tags/tag43.xml" ContentType="application/vnd.openxmlformats-officedocument.presentationml.tags+xml"/>
  <Override PartName="/ppt/charts/chart26.xml" ContentType="application/vnd.openxmlformats-officedocument.drawingml.chart+xml"/>
  <Override PartName="/ppt/tags/tag44.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45.xml" ContentType="application/vnd.openxmlformats-officedocument.presentationml.tags+xml"/>
  <Override PartName="/ppt/charts/chart31.xml" ContentType="application/vnd.openxmlformats-officedocument.drawingml.chart+xml"/>
  <Override PartName="/ppt/tags/tag46.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tags/tag47.xml" ContentType="application/vnd.openxmlformats-officedocument.presentationml.tags+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tags/tag48.xml" ContentType="application/vnd.openxmlformats-officedocument.presentationml.tags+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6"/>
  </p:notesMasterIdLst>
  <p:sldIdLst>
    <p:sldId id="2147475163" r:id="rId5"/>
    <p:sldId id="2147475164" r:id="rId6"/>
    <p:sldId id="2147475165" r:id="rId7"/>
    <p:sldId id="2147475166" r:id="rId8"/>
    <p:sldId id="2147475167" r:id="rId9"/>
    <p:sldId id="2147475168" r:id="rId10"/>
    <p:sldId id="2147475169" r:id="rId11"/>
    <p:sldId id="2147475170" r:id="rId12"/>
    <p:sldId id="2147475171" r:id="rId13"/>
    <p:sldId id="2147475172" r:id="rId14"/>
    <p:sldId id="2147475173" r:id="rId15"/>
    <p:sldId id="2147475174" r:id="rId16"/>
    <p:sldId id="2147475175" r:id="rId17"/>
    <p:sldId id="2147475176" r:id="rId18"/>
    <p:sldId id="2147475177" r:id="rId19"/>
    <p:sldId id="2147475178" r:id="rId20"/>
    <p:sldId id="2147475179" r:id="rId21"/>
    <p:sldId id="2147475180" r:id="rId22"/>
    <p:sldId id="2147475181" r:id="rId23"/>
    <p:sldId id="2147475182" r:id="rId24"/>
    <p:sldId id="2147475183" r:id="rId2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ranking" id="{E126F0CA-D4E6-4116-9FCA-4BF0057D289B}">
          <p14:sldIdLst>
            <p14:sldId id="2147475163"/>
            <p14:sldId id="2147475164"/>
            <p14:sldId id="2147475165"/>
            <p14:sldId id="2147475166"/>
            <p14:sldId id="2147475167"/>
            <p14:sldId id="2147475168"/>
            <p14:sldId id="2147475169"/>
          </p14:sldIdLst>
        </p14:section>
        <p14:section name="Innovation potential" id="{89E7FFFE-B981-46DD-B6EB-5359ACE336FE}">
          <p14:sldIdLst>
            <p14:sldId id="2147475170"/>
            <p14:sldId id="2147475171"/>
            <p14:sldId id="2147475172"/>
            <p14:sldId id="2147475173"/>
            <p14:sldId id="2147475174"/>
            <p14:sldId id="2147475175"/>
            <p14:sldId id="2147475176"/>
          </p14:sldIdLst>
        </p14:section>
        <p14:section name="Innovation sourcing" id="{4591D1BE-7372-491D-A4D3-3D1D7E2F97AE}">
          <p14:sldIdLst>
            <p14:sldId id="2147475177"/>
            <p14:sldId id="2147475178"/>
            <p14:sldId id="2147475179"/>
            <p14:sldId id="2147475180"/>
            <p14:sldId id="2147475181"/>
            <p14:sldId id="2147475182"/>
            <p14:sldId id="214747518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 d="100"/>
          <a:sy n="10" d="100"/>
        </p:scale>
        <p:origin x="2" y="0"/>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24/07/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4/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2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8" Type="http://schemas.openxmlformats.org/officeDocument/2006/relationships/chart" Target="../charts/chart30.xml"/><Relationship Id="rId3" Type="http://schemas.openxmlformats.org/officeDocument/2006/relationships/oleObject" Target="../embeddings/oleObject27.bin"/><Relationship Id="rId7" Type="http://schemas.openxmlformats.org/officeDocument/2006/relationships/chart" Target="../charts/chart29.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31.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7.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oleObject" Target="../embeddings/oleObject27.bin"/><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oleObject" Target="../embeddings/oleObject27.bin"/><Relationship Id="rId7" Type="http://schemas.openxmlformats.org/officeDocument/2006/relationships/chart" Target="../charts/chart5.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7.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oleObject" Target="../embeddings/oleObject27.bin"/><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1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1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6767741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3248427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5890240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0845820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9205343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6611770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595914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112098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r>
              <a:rPr lang="en-US" sz="1000" dirty="0">
                <a:latin typeface="+mn-lt"/>
              </a:rPr>
              <a:t>Rescaled Delta Share by Product &amp; </a:t>
            </a:r>
            <a:r>
              <a:rPr lang="en-US" sz="1000" dirty="0">
                <a:solidFill>
                  <a:schemeClr val="accent3"/>
                </a:solidFill>
                <a:latin typeface="+mn-lt"/>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6126653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989068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6322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3210856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728588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r>
              <a:rPr lang="en-US" sz="1000" dirty="0">
                <a:latin typeface="+mn-lt"/>
              </a:rPr>
              <a:t>Rescaled Delta Share by Product &amp; </a:t>
            </a:r>
            <a:r>
              <a:rPr lang="en-US" sz="1000" dirty="0">
                <a:solidFill>
                  <a:schemeClr val="accent3"/>
                </a:solidFill>
                <a:latin typeface="+mn-lt"/>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099343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3060874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42785859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0603847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2395386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9846596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40600742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0879156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3.xml><?xml version="1.0" encoding="utf-8"?>
<ds:datastoreItem xmlns:ds="http://schemas.openxmlformats.org/officeDocument/2006/customXml" ds:itemID="{D21786C5-D6DC-4DB9-87D8-B24F55D3189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1727</Words>
  <Application>Microsoft Office PowerPoint</Application>
  <PresentationFormat>On-screen Show (16:9)</PresentationFormat>
  <Paragraphs>580</Paragraphs>
  <Slides>2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0" baseType="lpstr">
      <vt:lpstr>Aptos</vt:lpstr>
      <vt:lpstr>Arial</vt:lpstr>
      <vt:lpstr>Nexa</vt:lpstr>
      <vt:lpstr>Nexa Bold</vt:lpstr>
      <vt:lpstr>Nexa Book</vt:lpstr>
      <vt:lpstr>Nexa Book Italic</vt:lpstr>
      <vt:lpstr>Open Sans</vt:lpstr>
      <vt:lpstr>PricingOne Light Template Oct 2024</vt:lpstr>
      <vt:lpstr>think-cell Slide</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4</cp:revision>
  <dcterms:created xsi:type="dcterms:W3CDTF">2024-07-08T12:20:01Z</dcterms:created>
  <dcterms:modified xsi:type="dcterms:W3CDTF">2025-07-24T11:2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